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"/>
  </p:notesMasterIdLst>
  <p:sldIdLst>
    <p:sldId id="257" r:id="rId5"/>
    <p:sldId id="266" r:id="rId6"/>
  </p:sldIdLst>
  <p:sldSz cx="6858000" cy="51435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F71"/>
    <a:srgbClr val="F5B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51"/>
  </p:normalViewPr>
  <p:slideViewPr>
    <p:cSldViewPr>
      <p:cViewPr varScale="1">
        <p:scale>
          <a:sx n="140" d="100"/>
          <a:sy n="140" d="100"/>
        </p:scale>
        <p:origin x="1840" y="192"/>
      </p:cViewPr>
      <p:guideLst>
        <p:guide orient="horz" pos="16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60" d="100"/>
        <a:sy n="16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56707B-18BF-4A39-A23E-4AA2BDE4C9BD}" type="datetimeFigureOut">
              <a:rPr lang="de-DE" smtClean="0"/>
              <a:t>14.06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D0E5A-4A9D-4831-A99A-3DF7E6FA4D7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0340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4350" y="1597820"/>
            <a:ext cx="5257800" cy="1583531"/>
          </a:xfrm>
        </p:spPr>
        <p:txBody>
          <a:bodyPr>
            <a:noAutofit/>
          </a:bodyPr>
          <a:lstStyle>
            <a:lvl1pPr algn="l">
              <a:lnSpc>
                <a:spcPts val="4500"/>
              </a:lnSpc>
              <a:defRPr sz="3600"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1pPr>
          </a:lstStyle>
          <a:p>
            <a:r>
              <a:rPr lang="en-US" dirty="0"/>
              <a:t>District Conference 2019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4350" y="3486150"/>
            <a:ext cx="4400550" cy="457200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rgbClr val="005F71"/>
                </a:solidFill>
                <a:latin typeface="Lato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21-23 June - Basel, Switzerland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0750" y="4241062"/>
            <a:ext cx="857250" cy="921488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H="1">
            <a:off x="548640" y="971550"/>
            <a:ext cx="6023610" cy="6858"/>
          </a:xfrm>
          <a:prstGeom prst="line">
            <a:avLst/>
          </a:prstGeom>
          <a:ln w="76200">
            <a:solidFill>
              <a:srgbClr val="F5B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ubtitle 2"/>
          <p:cNvSpPr txBox="1">
            <a:spLocks/>
          </p:cNvSpPr>
          <p:nvPr userDrawn="1"/>
        </p:nvSpPr>
        <p:spPr>
          <a:xfrm>
            <a:off x="2343150" y="438150"/>
            <a:ext cx="4286250" cy="45720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b="1" kern="1200">
                <a:solidFill>
                  <a:srgbClr val="005F71"/>
                </a:solidFill>
                <a:latin typeface="Lato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250" b="0" dirty="0"/>
              <a:t>Zonta</a:t>
            </a:r>
            <a:r>
              <a:rPr lang="en-US" sz="2250" b="0" baseline="0" dirty="0"/>
              <a:t> International District 28</a:t>
            </a:r>
            <a:endParaRPr lang="en-US" sz="2250" b="0" dirty="0"/>
          </a:p>
        </p:txBody>
      </p:sp>
    </p:spTree>
    <p:extLst>
      <p:ext uri="{BB962C8B-B14F-4D97-AF65-F5344CB8AC3E}">
        <p14:creationId xmlns:p14="http://schemas.microsoft.com/office/powerpoint/2010/main" val="375920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5000">
        <p:fade/>
      </p:transition>
    </mc:Choice>
    <mc:Fallback xmlns="">
      <p:transition spd="slow" advClick="0" advTm="5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370659" y="1478756"/>
            <a:ext cx="3360420" cy="2997994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257550" cy="51435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371850" y="133350"/>
            <a:ext cx="3360420" cy="990600"/>
          </a:xfrm>
        </p:spPr>
        <p:txBody>
          <a:bodyPr anchor="b">
            <a:noAutofit/>
          </a:bodyPr>
          <a:lstStyle>
            <a:lvl1pPr algn="l">
              <a:defRPr sz="2400">
                <a:solidFill>
                  <a:srgbClr val="005F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3371850" y="1301353"/>
            <a:ext cx="3360420" cy="0"/>
          </a:xfrm>
          <a:prstGeom prst="line">
            <a:avLst/>
          </a:prstGeom>
          <a:ln w="76200">
            <a:solidFill>
              <a:srgbClr val="F5B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4552950"/>
            <a:ext cx="6096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29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5000">
        <p:fade/>
      </p:transition>
    </mc:Choice>
    <mc:Fallback xmlns="">
      <p:transition spd="slow" advClick="0" advTm="500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4300" y="1554956"/>
            <a:ext cx="3360420" cy="2997994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3600450" y="-19050"/>
            <a:ext cx="3257550" cy="51435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115491" y="209550"/>
            <a:ext cx="3360420" cy="990600"/>
          </a:xfrm>
        </p:spPr>
        <p:txBody>
          <a:bodyPr anchor="b">
            <a:noAutofit/>
          </a:bodyPr>
          <a:lstStyle>
            <a:lvl1pPr algn="l">
              <a:defRPr sz="2400">
                <a:solidFill>
                  <a:srgbClr val="005F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115491" y="1377553"/>
            <a:ext cx="3360420" cy="0"/>
          </a:xfrm>
          <a:prstGeom prst="line">
            <a:avLst/>
          </a:prstGeom>
          <a:ln w="76200">
            <a:solidFill>
              <a:srgbClr val="F5B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56" y="4552950"/>
            <a:ext cx="643743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823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5000">
        <p:fade/>
      </p:transition>
    </mc:Choice>
    <mc:Fallback xmlns="">
      <p:transition spd="slow" advClick="0" advTm="500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137160" y="3261121"/>
            <a:ext cx="6583680" cy="17526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160" y="209550"/>
            <a:ext cx="6583680" cy="857250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005F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137160" y="1137841"/>
            <a:ext cx="6583680" cy="0"/>
          </a:xfrm>
          <a:prstGeom prst="line">
            <a:avLst/>
          </a:prstGeom>
          <a:ln w="76200">
            <a:solidFill>
              <a:srgbClr val="F5B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160" y="1208883"/>
            <a:ext cx="6583680" cy="1981199"/>
          </a:xfrm>
        </p:spPr>
        <p:txBody>
          <a:bodyPr>
            <a:noAutofit/>
          </a:bodyPr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44F9BAA3-8F64-48F7-8422-7B8E91B564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4476750"/>
            <a:ext cx="609600" cy="6858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4CA7C1B-77AF-4C75-A0A3-34E22EB513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" y="4485578"/>
            <a:ext cx="555044" cy="53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192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5000">
        <p:fade/>
      </p:transition>
    </mc:Choice>
    <mc:Fallback xmlns="">
      <p:transition spd="slow" advClick="0" advTm="500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933" y="205978"/>
            <a:ext cx="3257550" cy="1756172"/>
          </a:xfrm>
        </p:spPr>
        <p:txBody>
          <a:bodyPr anchor="b">
            <a:normAutofit/>
          </a:bodyPr>
          <a:lstStyle>
            <a:lvl1pPr algn="l">
              <a:defRPr sz="2400">
                <a:solidFill>
                  <a:srgbClr val="005F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5933" y="2343150"/>
            <a:ext cx="6586134" cy="2667000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135933" y="2152650"/>
            <a:ext cx="3257550" cy="0"/>
          </a:xfrm>
          <a:prstGeom prst="line">
            <a:avLst/>
          </a:prstGeom>
          <a:ln w="76200">
            <a:solidFill>
              <a:srgbClr val="F5B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3521667" y="209550"/>
            <a:ext cx="3200401" cy="1943100"/>
          </a:xfrm>
        </p:spPr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E09524-FD2F-4C8C-9465-05A47BE113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4476750"/>
            <a:ext cx="609600" cy="6858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F572295-3D5C-4433-9867-CCEAFE681D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4476750"/>
            <a:ext cx="555044" cy="53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22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5000">
        <p:fade/>
      </p:transition>
    </mc:Choice>
    <mc:Fallback xmlns="">
      <p:transition spd="slow" advClick="0" advTm="500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160" y="285750"/>
            <a:ext cx="6583680" cy="857250"/>
          </a:xfrm>
        </p:spPr>
        <p:txBody>
          <a:bodyPr anchor="b">
            <a:noAutofit/>
          </a:bodyPr>
          <a:lstStyle>
            <a:lvl1pPr algn="l">
              <a:defRPr sz="2400">
                <a:solidFill>
                  <a:srgbClr val="005F7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 flipH="1">
            <a:off x="137160" y="1260480"/>
            <a:ext cx="6583680" cy="0"/>
          </a:xfrm>
          <a:prstGeom prst="line">
            <a:avLst/>
          </a:prstGeom>
          <a:ln w="76200">
            <a:solidFill>
              <a:srgbClr val="F5BD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7160" y="1377960"/>
            <a:ext cx="6583680" cy="3022590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4457700"/>
            <a:ext cx="624694" cy="6858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2A3C213-4794-4B78-BF68-5BD619449F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" y="4485578"/>
            <a:ext cx="555044" cy="536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97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5000">
        <p:fade/>
      </p:transition>
    </mc:Choice>
    <mc:Fallback xmlns="">
      <p:transition spd="slow" advClick="0" advTm="500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858000" cy="5143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06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5000">
        <p:fade/>
      </p:transition>
    </mc:Choice>
    <mc:Fallback xmlns="">
      <p:transition spd="slow" advClick="0" advTm="500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285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5000">
        <p:fade/>
      </p:transition>
    </mc:Choice>
    <mc:Fallback xmlns="">
      <p:transition spd="slow" advClick="0" advTm="5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200151"/>
            <a:ext cx="61722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4767263"/>
            <a:ext cx="16002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034A85-7AC3-41E9-B29A-AE8F0283A15C}" type="datetimeFigureOut">
              <a:rPr lang="en-US" smtClean="0"/>
              <a:t>6/14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4767263"/>
            <a:ext cx="21717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4767263"/>
            <a:ext cx="16002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92D03F-718D-44C4-A7A0-A958E7C07A7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627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70" r:id="rId3"/>
    <p:sldLayoutId id="2147483650" r:id="rId4"/>
    <p:sldLayoutId id="2147483653" r:id="rId5"/>
    <p:sldLayoutId id="2147483662" r:id="rId6"/>
    <p:sldLayoutId id="2147483665" r:id="rId7"/>
    <p:sldLayoutId id="2147483655" r:id="rId8"/>
  </p:sldLayoutIdLst>
  <mc:AlternateContent xmlns:mc="http://schemas.openxmlformats.org/markup-compatibility/2006" xmlns:p14="http://schemas.microsoft.com/office/powerpoint/2010/main">
    <mc:Choice Requires="p14">
      <p:transition spd="slow" p14:dur="3000" advClick="0" advTm="5000">
        <p:fade/>
      </p:transition>
    </mc:Choice>
    <mc:Fallback xmlns="">
      <p:transition spd="slow" advClick="0" advTm="5000">
        <p:fade/>
      </p:transition>
    </mc:Fallback>
  </mc:AlternateConten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964FC76-9B5D-4E7D-9707-EDF2C00393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713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3402EEF-54A8-411D-BED4-3DF4114206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Lato Semibold" panose="020F0502020204030203"/>
              <a:sym typeface="Lato Semibold" panose="020F0502020204030203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emorial Servic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eptember 25, 2021</a:t>
            </a:r>
          </a:p>
        </p:txBody>
      </p:sp>
    </p:spTree>
    <p:extLst>
      <p:ext uri="{BB962C8B-B14F-4D97-AF65-F5344CB8AC3E}">
        <p14:creationId xmlns:p14="http://schemas.microsoft.com/office/powerpoint/2010/main" val="143446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10000">
        <p:fade/>
      </p:transition>
    </mc:Choice>
    <mc:Fallback xmlns="">
      <p:transition spd="slow" advClick="0" advTm="1000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4E77D2-ABDD-4E00-BE15-58BB6A24A1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64E77D2-ABDD-4E00-BE15-58BB6A24A1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D2C9674-2F3D-4E46-AB09-D0AA5089F8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400" dirty="0">
              <a:latin typeface="Lato Semibold" panose="020F0502020204030203"/>
              <a:ea typeface="+mj-ea"/>
              <a:cs typeface="+mj-cs"/>
              <a:sym typeface="Lato Semibold" panose="020F0502020204030203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sz="quarter" idx="4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e-DE" b="1" dirty="0" err="1"/>
              <a:t>Full</a:t>
            </a:r>
            <a:r>
              <a:rPr lang="de-DE" b="1"/>
              <a:t> name</a:t>
            </a:r>
            <a:r>
              <a:rPr lang="de-DE" b="1" dirty="0"/>
              <a:t> </a:t>
            </a:r>
          </a:p>
          <a:p>
            <a:r>
              <a:rPr lang="de-DE" dirty="0"/>
              <a:t>Zonta Club </a:t>
            </a:r>
            <a:r>
              <a:rPr lang="de-DE" dirty="0" err="1"/>
              <a:t>of</a:t>
            </a:r>
            <a:r>
              <a:rPr lang="de-DE" dirty="0"/>
              <a:t> … </a:t>
            </a:r>
          </a:p>
          <a:p>
            <a:pPr marL="0" indent="0">
              <a:buNone/>
            </a:pPr>
            <a:r>
              <a:rPr lang="de-DE" dirty="0"/>
              <a:t>    (</a:t>
            </a:r>
            <a:r>
              <a:rPr lang="de-DE" dirty="0" err="1"/>
              <a:t>member</a:t>
            </a:r>
            <a:r>
              <a:rPr lang="de-DE" dirty="0"/>
              <a:t> </a:t>
            </a:r>
            <a:r>
              <a:rPr lang="de-DE" dirty="0" err="1"/>
              <a:t>since</a:t>
            </a:r>
            <a:r>
              <a:rPr lang="de-DE" dirty="0"/>
              <a:t> …)</a:t>
            </a:r>
          </a:p>
          <a:p>
            <a:r>
              <a:rPr lang="de-DE" dirty="0" err="1"/>
              <a:t>function</a:t>
            </a:r>
            <a:r>
              <a:rPr lang="de-DE" dirty="0"/>
              <a:t> …</a:t>
            </a:r>
          </a:p>
          <a:p>
            <a:r>
              <a:rPr lang="de-DE" dirty="0"/>
              <a:t>…</a:t>
            </a:r>
          </a:p>
          <a:p>
            <a:r>
              <a:rPr lang="de-DE" dirty="0"/>
              <a:t>…</a:t>
            </a:r>
          </a:p>
          <a:p>
            <a:r>
              <a:rPr lang="de-DE" dirty="0"/>
              <a:t>…</a:t>
            </a:r>
          </a:p>
          <a:p>
            <a:r>
              <a:rPr lang="de-DE" dirty="0" err="1"/>
              <a:t>short</a:t>
            </a:r>
            <a:r>
              <a:rPr lang="de-DE" dirty="0"/>
              <a:t> </a:t>
            </a:r>
            <a:r>
              <a:rPr lang="de-DE" dirty="0" err="1"/>
              <a:t>tribute</a:t>
            </a:r>
            <a:r>
              <a:rPr lang="de-DE" dirty="0"/>
              <a:t> …</a:t>
            </a:r>
          </a:p>
          <a:p>
            <a:endParaRPr lang="en-US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CA2698F-9220-428D-A6E2-093A98F12E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 </a:t>
            </a:r>
            <a:r>
              <a:rPr lang="de-DE" dirty="0" err="1"/>
              <a:t>memor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(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)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24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10000">
        <p:fade/>
      </p:transition>
    </mc:Choice>
    <mc:Fallback xmlns="">
      <p:transition spd="slow" advClick="0" advTm="10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e2eRBsRhSlTOAVxBbc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0rVZyITr2T1hP3t10Zs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to">
      <a:majorFont>
        <a:latin typeface="Lato Semibold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310AB27C2DFD489841547AD5DA5CF6" ma:contentTypeVersion="20" ma:contentTypeDescription="Create a new document." ma:contentTypeScope="" ma:versionID="a99ceb5f8992ba5c07d9d470f78f9c68">
  <xsd:schema xmlns:xsd="http://www.w3.org/2001/XMLSchema" xmlns:xs="http://www.w3.org/2001/XMLSchema" xmlns:p="http://schemas.microsoft.com/office/2006/metadata/properties" xmlns:ns2="1648f2b9-7a6f-470c-ab6b-ef6897e5ddd7" xmlns:ns3="dfeb9015-71a4-494b-8681-bf0e88f79a28" targetNamespace="http://schemas.microsoft.com/office/2006/metadata/properties" ma:root="true" ma:fieldsID="f8301e19f1f8d2315c49910f7837ef26" ns2:_="" ns3:_="">
    <xsd:import namespace="1648f2b9-7a6f-470c-ab6b-ef6897e5ddd7"/>
    <xsd:import namespace="dfeb9015-71a4-494b-8681-bf0e88f79a2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48f2b9-7a6f-470c-ab6b-ef6897e5ddd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eb9015-71a4-494b-8681-bf0e88f79a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921CC7-540C-4225-B051-0A2F37DF2FD6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1648f2b9-7a6f-470c-ab6b-ef6897e5ddd7"/>
    <ds:schemaRef ds:uri="http://schemas.microsoft.com/office/2006/documentManagement/types"/>
    <ds:schemaRef ds:uri="http://schemas.microsoft.com/office/infopath/2007/PartnerControls"/>
    <ds:schemaRef ds:uri="dfeb9015-71a4-494b-8681-bf0e88f79a2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8554421-EA54-4CE2-8546-72D9F3B829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48f2b9-7a6f-470c-ab6b-ef6897e5ddd7"/>
    <ds:schemaRef ds:uri="dfeb9015-71a4-494b-8681-bf0e88f79a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C40B7C-7CB6-4E1F-AC71-017B2808533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</Words>
  <Application>Microsoft Macintosh PowerPoint</Application>
  <PresentationFormat>Benutzerdefiniert</PresentationFormat>
  <Paragraphs>11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Lato</vt:lpstr>
      <vt:lpstr>Lato Semibold</vt:lpstr>
      <vt:lpstr>Office Theme</vt:lpstr>
      <vt:lpstr>think-cell Folie</vt:lpstr>
      <vt:lpstr>Memorial Service</vt:lpstr>
      <vt:lpstr>In memory of (first name)…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e Edrinn</dc:creator>
  <cp:lastModifiedBy>kathrin laubacher</cp:lastModifiedBy>
  <cp:revision>48</cp:revision>
  <dcterms:created xsi:type="dcterms:W3CDTF">2018-01-12T21:14:27Z</dcterms:created>
  <dcterms:modified xsi:type="dcterms:W3CDTF">2021-06-14T08:2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310AB27C2DFD489841547AD5DA5CF6</vt:lpwstr>
  </property>
</Properties>
</file>